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8" r:id="rId1"/>
    <p:sldMasterId id="2147483731" r:id="rId2"/>
  </p:sldMasterIdLst>
  <p:notesMasterIdLst>
    <p:notesMasterId r:id="rId8"/>
  </p:notesMasterIdLst>
  <p:handoutMasterIdLst>
    <p:handoutMasterId r:id="rId9"/>
  </p:handoutMasterIdLst>
  <p:sldIdLst>
    <p:sldId id="656" r:id="rId3"/>
    <p:sldId id="657" r:id="rId4"/>
    <p:sldId id="649" r:id="rId5"/>
    <p:sldId id="658" r:id="rId6"/>
    <p:sldId id="660" r:id="rId7"/>
  </p:sldIdLst>
  <p:sldSz cx="12192000" cy="6858000"/>
  <p:notesSz cx="6805613" cy="99441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391" userDrawn="1">
          <p15:clr>
            <a:srgbClr val="A4A3A4"/>
          </p15:clr>
        </p15:guide>
        <p15:guide id="9" pos="54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1" clrIdx="0">
    <p:extLst>
      <p:ext uri="{19B8F6BF-5375-455C-9EA6-DF929625EA0E}">
        <p15:presenceInfo xmlns:p15="http://schemas.microsoft.com/office/powerpoint/2012/main" userId="S-1-5-21-4226584364-21557989-1436132917-1552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790"/>
    <a:srgbClr val="2D3494"/>
    <a:srgbClr val="2F3696"/>
    <a:srgbClr val="F5F5F5"/>
    <a:srgbClr val="D9D9D9"/>
    <a:srgbClr val="A4DBC5"/>
    <a:srgbClr val="FDB5B5"/>
    <a:srgbClr val="FFFFFF"/>
    <a:srgbClr val="B9B9B9"/>
    <a:srgbClr val="EBE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3720" autoAdjust="0"/>
    <p:restoredTop sz="95394" autoAdjust="0"/>
  </p:normalViewPr>
  <p:slideViewPr>
    <p:cSldViewPr>
      <p:cViewPr varScale="1">
        <p:scale>
          <a:sx n="68" d="100"/>
          <a:sy n="68" d="100"/>
        </p:scale>
        <p:origin x="90" y="858"/>
      </p:cViewPr>
      <p:guideLst>
        <p:guide orient="horz" pos="346"/>
        <p:guide orient="horz" pos="1525"/>
        <p:guide orient="horz" pos="210"/>
        <p:guide pos="982"/>
        <p:guide orient="horz" pos="391"/>
        <p:guide pos="5428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733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9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9.03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100" dirty="0" smtClean="0"/>
              <a:t>Основные тренды в образовании: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Индивидуальное обучение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Благодаря технологиям персонализированное обучение стало более жизнеспособным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оциаль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циальные сети и сообщества пользователей позволяют взаимодействовать, обмениваться, создавать связ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Развитие навыков межличностного общения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Критическое мышление, аналитические навыки, навыки решения проблем, инициативность, новаторство и многое другое – навыки, без которых уже сегодня сложно выстраивать свой путь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мешан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четание онлайн и офлайн инструментов в образовании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Микрообучение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Стремительный поток информации и необходимость в нем ориентироваться ведет к тому, что традиционное обучение уступает новым методам.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Геймификация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Включение игровых механик помогает развивать </a:t>
            </a:r>
            <a:r>
              <a:rPr lang="en-US" sz="1100" dirty="0" smtClean="0"/>
              <a:t>soft skills</a:t>
            </a:r>
            <a:r>
              <a:rPr lang="ru-RU" sz="1100" dirty="0" smtClean="0"/>
              <a:t>, связанные с поведением человека, социальными отношениям, управлением эмоциям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Функциональная грамотность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и модель </a:t>
            </a:r>
            <a:r>
              <a:rPr lang="en-US" sz="1100" dirty="0" smtClean="0"/>
              <a:t>STEAM</a:t>
            </a:r>
            <a:r>
              <a:rPr lang="ru-RU" sz="1100" dirty="0" smtClean="0"/>
              <a:t> (наука, технология, инженерия, искусство, математика) позволяет учащимся понять предмет, а не просто его изуч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err="1" smtClean="0"/>
              <a:t>SmartReading</a:t>
            </a:r>
            <a:r>
              <a:rPr lang="en-US" sz="1100" dirty="0" smtClean="0"/>
              <a:t> – </a:t>
            </a:r>
            <a:r>
              <a:rPr lang="ru-RU" sz="1100" dirty="0" smtClean="0"/>
              <a:t>короткое изложение содержания книги (</a:t>
            </a:r>
            <a:r>
              <a:rPr lang="ru-RU" sz="1100" dirty="0" err="1" smtClean="0"/>
              <a:t>саммари</a:t>
            </a:r>
            <a:r>
              <a:rPr lang="ru-RU" sz="1100" dirty="0" smtClean="0"/>
              <a:t>) как в классическом (буквенном) формате, так и в </a:t>
            </a:r>
            <a:r>
              <a:rPr lang="ru-RU" sz="1100" dirty="0" err="1" smtClean="0"/>
              <a:t>аудиоформате</a:t>
            </a:r>
            <a:endParaRPr lang="ru-RU" sz="11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1080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100" dirty="0" smtClean="0"/>
              <a:t>Основные тренды в образовании: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Индивидуальное обучение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Благодаря технологиям персонализированное обучение стало более жизнеспособным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оциаль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циальные сети и сообщества пользователей позволяют взаимодействовать, обмениваться, создавать связ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Развитие навыков межличностного общения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Критическое мышление, аналитические навыки, навыки решения проблем, инициативность, новаторство и многое другое – навыки, без которых уже сегодня сложно выстраивать свой путь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мешан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четание онлайн и офлайн инструментов в образовании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Микрообучение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Стремительный поток информации и необходимость в нем ориентироваться ведет к тому, что традиционное обучение уступает новым методам.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Геймификация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Включение игровых механик помогает развивать </a:t>
            </a:r>
            <a:r>
              <a:rPr lang="en-US" sz="1100" dirty="0" smtClean="0"/>
              <a:t>soft skills</a:t>
            </a:r>
            <a:r>
              <a:rPr lang="ru-RU" sz="1100" dirty="0" smtClean="0"/>
              <a:t>, связанные с поведением человека, социальными отношениям, управлением эмоциям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Функциональная грамотность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и модель </a:t>
            </a:r>
            <a:r>
              <a:rPr lang="en-US" sz="1100" dirty="0" smtClean="0"/>
              <a:t>STEAM</a:t>
            </a:r>
            <a:r>
              <a:rPr lang="ru-RU" sz="1100" dirty="0" smtClean="0"/>
              <a:t> (наука, технология, инженерия, искусство, математика) позволяет учащимся понять предмет, а не просто его изуч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err="1" smtClean="0"/>
              <a:t>SmartReading</a:t>
            </a:r>
            <a:r>
              <a:rPr lang="en-US" sz="1100" dirty="0" smtClean="0"/>
              <a:t> – </a:t>
            </a:r>
            <a:r>
              <a:rPr lang="ru-RU" sz="1100" dirty="0" smtClean="0"/>
              <a:t>короткое изложение содержания книги (</a:t>
            </a:r>
            <a:r>
              <a:rPr lang="ru-RU" sz="1100" dirty="0" err="1" smtClean="0"/>
              <a:t>саммари</a:t>
            </a:r>
            <a:r>
              <a:rPr lang="ru-RU" sz="1100" dirty="0" smtClean="0"/>
              <a:t>) как в классическом (буквенном) формате, так и в </a:t>
            </a:r>
            <a:r>
              <a:rPr lang="ru-RU" sz="1100" dirty="0" err="1" smtClean="0"/>
              <a:t>аудиоформате</a:t>
            </a:r>
            <a:endParaRPr lang="ru-RU" sz="11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1626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3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7515576" y="5202062"/>
            <a:ext cx="46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7515576" y="5178146"/>
            <a:ext cx="46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5106101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-7204" y="5204814"/>
            <a:ext cx="46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-7204" y="5180898"/>
            <a:ext cx="46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aphicFrame>
        <p:nvGraphicFramePr>
          <p:cNvPr id="29" name="Объект 2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5835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31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7377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573840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8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994601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layout" preserve="1">
  <p:cSld name="Agenda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Google Shape;163;p52"/>
          <p:cNvGrpSpPr/>
          <p:nvPr/>
        </p:nvGrpSpPr>
        <p:grpSpPr>
          <a:xfrm flipH="1">
            <a:off x="2657472" y="1971671"/>
            <a:ext cx="1343029" cy="1343029"/>
            <a:chOff x="2190747" y="1657346"/>
            <a:chExt cx="1343029" cy="1343029"/>
          </a:xfrm>
        </p:grpSpPr>
        <p:sp>
          <p:nvSpPr>
            <p:cNvPr id="164" name="Google Shape;164;p52"/>
            <p:cNvSpPr/>
            <p:nvPr/>
          </p:nvSpPr>
          <p:spPr>
            <a:xfrm>
              <a:off x="2705100" y="2190749"/>
              <a:ext cx="504825" cy="504825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52"/>
            <p:cNvSpPr/>
            <p:nvPr/>
          </p:nvSpPr>
          <p:spPr>
            <a:xfrm>
              <a:off x="2481261" y="1947860"/>
              <a:ext cx="895351" cy="895351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52"/>
            <p:cNvSpPr/>
            <p:nvPr/>
          </p:nvSpPr>
          <p:spPr>
            <a:xfrm>
              <a:off x="2190747" y="1657346"/>
              <a:ext cx="1343029" cy="1343029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3062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tyle slide layout" preserve="1">
  <p:cSld name="1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20437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tyle slide layout" preserve="1">
  <p:cSld name="2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361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tyle slide layout" preserve="1">
  <p:cSld name="3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50517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Style slide layout" preserve="1">
  <p:cSld name="4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450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ntents slide layout" preserve="1">
  <p:cSld name="3_Contents slide layout">
    <p:bg>
      <p:bgPr>
        <a:solidFill>
          <a:schemeClr val="accent1"/>
        </a:solidFill>
        <a:effectLst/>
      </p:bgPr>
    </p:bg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762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s slide layout" preserve="1">
  <p:cSld name="1_Contents slide layou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58"/>
          <p:cNvSpPr/>
          <p:nvPr/>
        </p:nvSpPr>
        <p:spPr>
          <a:xfrm>
            <a:off x="0" y="-1"/>
            <a:ext cx="12192000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p58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5" name="Google Shape;175;p58"/>
          <p:cNvSpPr/>
          <p:nvPr/>
        </p:nvSpPr>
        <p:spPr>
          <a:xfrm>
            <a:off x="0" y="6792686"/>
            <a:ext cx="12192000" cy="65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3562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ntents slide layout" preserve="1">
  <p:cSld name="2_Contents slide layou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59"/>
          <p:cNvSpPr/>
          <p:nvPr/>
        </p:nvSpPr>
        <p:spPr>
          <a:xfrm>
            <a:off x="0" y="-1"/>
            <a:ext cx="12192000" cy="6531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59"/>
          <p:cNvSpPr/>
          <p:nvPr/>
        </p:nvSpPr>
        <p:spPr>
          <a:xfrm>
            <a:off x="722811" y="291737"/>
            <a:ext cx="10519955" cy="102431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59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0" name="Google Shape;180;p59"/>
          <p:cNvSpPr/>
          <p:nvPr/>
        </p:nvSpPr>
        <p:spPr>
          <a:xfrm>
            <a:off x="0" y="6792686"/>
            <a:ext cx="12192000" cy="65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236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1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919536" y="1340768"/>
            <a:ext cx="7632848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l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-7204" y="5204814"/>
            <a:ext cx="12204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-7204" y="5180898"/>
            <a:ext cx="12204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 userDrawn="1"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aphicFrame>
        <p:nvGraphicFramePr>
          <p:cNvPr id="29" name="Объект 2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19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20894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 layout" preserve="1">
  <p:cSld name="Image slide layout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9113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slide layout" preserve="1">
  <p:cSld name="1_Image slide layout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6849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s slide layout" preserve="1">
  <p:cSld name="4_Contents slide layout">
    <p:bg>
      <p:bgPr>
        <a:solidFill>
          <a:schemeClr val="accent1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62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5" name="Google Shape;185;p62"/>
          <p:cNvSpPr/>
          <p:nvPr/>
        </p:nvSpPr>
        <p:spPr>
          <a:xfrm>
            <a:off x="8588975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62"/>
          <p:cNvSpPr/>
          <p:nvPr/>
        </p:nvSpPr>
        <p:spPr>
          <a:xfrm flipH="1">
            <a:off x="805399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62"/>
          <p:cNvSpPr>
            <a:spLocks noGrp="1"/>
          </p:cNvSpPr>
          <p:nvPr>
            <p:ph type="pic" idx="2"/>
          </p:nvPr>
        </p:nvSpPr>
        <p:spPr>
          <a:xfrm>
            <a:off x="1811890" y="252965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88" name="Google Shape;188;p62"/>
          <p:cNvSpPr>
            <a:spLocks noGrp="1"/>
          </p:cNvSpPr>
          <p:nvPr>
            <p:ph type="pic" idx="3"/>
          </p:nvPr>
        </p:nvSpPr>
        <p:spPr>
          <a:xfrm>
            <a:off x="9117565" y="159620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89" name="Google Shape;189;p62"/>
          <p:cNvSpPr/>
          <p:nvPr/>
        </p:nvSpPr>
        <p:spPr>
          <a:xfrm>
            <a:off x="4579677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62"/>
          <p:cNvSpPr>
            <a:spLocks noGrp="1"/>
          </p:cNvSpPr>
          <p:nvPr>
            <p:ph type="pic" idx="4"/>
          </p:nvPr>
        </p:nvSpPr>
        <p:spPr>
          <a:xfrm>
            <a:off x="5202790" y="445370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348135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Image slide layout" preserve="1">
  <p:cSld name="2_Image slide layout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3"/>
          <p:cNvSpPr>
            <a:spLocks noGrp="1"/>
          </p:cNvSpPr>
          <p:nvPr>
            <p:ph type="pic" idx="2"/>
          </p:nvPr>
        </p:nvSpPr>
        <p:spPr>
          <a:xfrm>
            <a:off x="1875633" y="1819076"/>
            <a:ext cx="9593277" cy="264599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3" name="Google Shape;193;p63"/>
          <p:cNvSpPr/>
          <p:nvPr/>
        </p:nvSpPr>
        <p:spPr>
          <a:xfrm>
            <a:off x="-1" y="1819076"/>
            <a:ext cx="1875635" cy="2389975"/>
          </a:xfrm>
          <a:prstGeom prst="rect">
            <a:avLst/>
          </a:prstGeom>
          <a:solidFill>
            <a:schemeClr val="accent1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p63"/>
          <p:cNvSpPr>
            <a:spLocks noGrp="1"/>
          </p:cNvSpPr>
          <p:nvPr>
            <p:ph type="pic" idx="3"/>
          </p:nvPr>
        </p:nvSpPr>
        <p:spPr>
          <a:xfrm>
            <a:off x="9615413" y="4396978"/>
            <a:ext cx="1853497" cy="167044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5" name="Google Shape;195;p63"/>
          <p:cNvSpPr>
            <a:spLocks noGrp="1"/>
          </p:cNvSpPr>
          <p:nvPr>
            <p:ph type="pic" idx="4"/>
          </p:nvPr>
        </p:nvSpPr>
        <p:spPr>
          <a:xfrm>
            <a:off x="7570712" y="4396978"/>
            <a:ext cx="1853497" cy="167044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6" name="Google Shape;196;p63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20014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Image slide layout" preserve="1">
  <p:cSld name="3_Image slide layout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64"/>
          <p:cNvSpPr>
            <a:spLocks noGrp="1"/>
          </p:cNvSpPr>
          <p:nvPr>
            <p:ph type="pic" idx="2"/>
          </p:nvPr>
        </p:nvSpPr>
        <p:spPr>
          <a:xfrm>
            <a:off x="733463" y="1792600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9" name="Google Shape;199;p64"/>
          <p:cNvSpPr>
            <a:spLocks noGrp="1"/>
          </p:cNvSpPr>
          <p:nvPr>
            <p:ph type="pic" idx="3"/>
          </p:nvPr>
        </p:nvSpPr>
        <p:spPr>
          <a:xfrm>
            <a:off x="733463" y="2878386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0" name="Google Shape;200;p64"/>
          <p:cNvSpPr>
            <a:spLocks noGrp="1"/>
          </p:cNvSpPr>
          <p:nvPr>
            <p:ph type="pic" idx="4"/>
          </p:nvPr>
        </p:nvSpPr>
        <p:spPr>
          <a:xfrm>
            <a:off x="733463" y="3964172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1" name="Google Shape;201;p64"/>
          <p:cNvSpPr>
            <a:spLocks noGrp="1"/>
          </p:cNvSpPr>
          <p:nvPr>
            <p:ph type="pic" idx="5"/>
          </p:nvPr>
        </p:nvSpPr>
        <p:spPr>
          <a:xfrm>
            <a:off x="733463" y="5049957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2" name="Google Shape;202;p64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369382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Image slide layout" preserve="1">
  <p:cSld name="4_Image slide layout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65"/>
          <p:cNvSpPr/>
          <p:nvPr/>
        </p:nvSpPr>
        <p:spPr>
          <a:xfrm>
            <a:off x="9315811" y="3209360"/>
            <a:ext cx="2160000" cy="144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p65"/>
          <p:cNvSpPr>
            <a:spLocks noGrp="1"/>
          </p:cNvSpPr>
          <p:nvPr>
            <p:ph type="pic" idx="2"/>
          </p:nvPr>
        </p:nvSpPr>
        <p:spPr>
          <a:xfrm>
            <a:off x="9315811" y="177303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6" name="Google Shape;206;p65"/>
          <p:cNvSpPr/>
          <p:nvPr/>
        </p:nvSpPr>
        <p:spPr>
          <a:xfrm>
            <a:off x="7155811" y="4645814"/>
            <a:ext cx="2160000" cy="14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7" name="Google Shape;207;p65"/>
          <p:cNvSpPr>
            <a:spLocks noGrp="1"/>
          </p:cNvSpPr>
          <p:nvPr>
            <p:ph type="pic" idx="3"/>
          </p:nvPr>
        </p:nvSpPr>
        <p:spPr>
          <a:xfrm>
            <a:off x="9315811" y="464581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8" name="Google Shape;208;p65"/>
          <p:cNvSpPr>
            <a:spLocks noGrp="1"/>
          </p:cNvSpPr>
          <p:nvPr>
            <p:ph type="pic" idx="4"/>
          </p:nvPr>
        </p:nvSpPr>
        <p:spPr>
          <a:xfrm>
            <a:off x="7155596" y="3209360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9" name="Google Shape;209;p65"/>
          <p:cNvSpPr/>
          <p:nvPr/>
        </p:nvSpPr>
        <p:spPr>
          <a:xfrm>
            <a:off x="7155811" y="1773034"/>
            <a:ext cx="2160000" cy="144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65"/>
          <p:cNvSpPr/>
          <p:nvPr/>
        </p:nvSpPr>
        <p:spPr>
          <a:xfrm>
            <a:off x="4995381" y="3209360"/>
            <a:ext cx="21600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65"/>
          <p:cNvSpPr>
            <a:spLocks noGrp="1"/>
          </p:cNvSpPr>
          <p:nvPr>
            <p:ph type="pic" idx="5"/>
          </p:nvPr>
        </p:nvSpPr>
        <p:spPr>
          <a:xfrm>
            <a:off x="4994903" y="464581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2" name="Google Shape;212;p65"/>
          <p:cNvSpPr>
            <a:spLocks noGrp="1"/>
          </p:cNvSpPr>
          <p:nvPr>
            <p:ph type="pic" idx="6"/>
          </p:nvPr>
        </p:nvSpPr>
        <p:spPr>
          <a:xfrm>
            <a:off x="2835166" y="3209360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3" name="Google Shape;213;p65"/>
          <p:cNvSpPr/>
          <p:nvPr/>
        </p:nvSpPr>
        <p:spPr>
          <a:xfrm>
            <a:off x="674951" y="3209360"/>
            <a:ext cx="2160000" cy="144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65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18205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Image slide layout" preserve="1">
  <p:cSld name="5_Image slide layout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66"/>
          <p:cNvSpPr>
            <a:spLocks noGrp="1"/>
          </p:cNvSpPr>
          <p:nvPr>
            <p:ph type="pic" idx="2"/>
          </p:nvPr>
        </p:nvSpPr>
        <p:spPr>
          <a:xfrm>
            <a:off x="6575840" y="1478364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7" name="Google Shape;217;p66"/>
          <p:cNvSpPr>
            <a:spLocks noGrp="1"/>
          </p:cNvSpPr>
          <p:nvPr>
            <p:ph type="pic" idx="3"/>
          </p:nvPr>
        </p:nvSpPr>
        <p:spPr>
          <a:xfrm>
            <a:off x="6575840" y="3120588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8" name="Google Shape;218;p66"/>
          <p:cNvSpPr>
            <a:spLocks noGrp="1"/>
          </p:cNvSpPr>
          <p:nvPr>
            <p:ph type="pic" idx="4"/>
          </p:nvPr>
        </p:nvSpPr>
        <p:spPr>
          <a:xfrm>
            <a:off x="6575840" y="4762777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9" name="Google Shape;219;p66"/>
          <p:cNvSpPr>
            <a:spLocks noGrp="1"/>
          </p:cNvSpPr>
          <p:nvPr>
            <p:ph type="pic" idx="5"/>
          </p:nvPr>
        </p:nvSpPr>
        <p:spPr>
          <a:xfrm>
            <a:off x="8716377" y="3120588"/>
            <a:ext cx="169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0" name="Google Shape;220;p66"/>
          <p:cNvSpPr>
            <a:spLocks noGrp="1"/>
          </p:cNvSpPr>
          <p:nvPr>
            <p:ph type="pic" idx="6"/>
          </p:nvPr>
        </p:nvSpPr>
        <p:spPr>
          <a:xfrm>
            <a:off x="10500000" y="3120588"/>
            <a:ext cx="169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1" name="Google Shape;221;p66"/>
          <p:cNvSpPr>
            <a:spLocks noGrp="1"/>
          </p:cNvSpPr>
          <p:nvPr>
            <p:ph type="pic" idx="7"/>
          </p:nvPr>
        </p:nvSpPr>
        <p:spPr>
          <a:xfrm>
            <a:off x="4429129" y="1766364"/>
            <a:ext cx="2052000" cy="11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2" name="Google Shape;222;p66"/>
          <p:cNvSpPr/>
          <p:nvPr/>
        </p:nvSpPr>
        <p:spPr>
          <a:xfrm>
            <a:off x="0" y="3120588"/>
            <a:ext cx="6481129" cy="1550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3" name="Google Shape;223;p66"/>
          <p:cNvSpPr/>
          <p:nvPr/>
        </p:nvSpPr>
        <p:spPr>
          <a:xfrm>
            <a:off x="4429129" y="2912764"/>
            <a:ext cx="2052000" cy="1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66"/>
          <p:cNvSpPr/>
          <p:nvPr/>
        </p:nvSpPr>
        <p:spPr>
          <a:xfrm>
            <a:off x="6575840" y="2912764"/>
            <a:ext cx="2052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5" name="Google Shape;225;p66"/>
          <p:cNvSpPr/>
          <p:nvPr/>
        </p:nvSpPr>
        <p:spPr>
          <a:xfrm>
            <a:off x="6575840" y="4563278"/>
            <a:ext cx="2052000" cy="1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66"/>
          <p:cNvSpPr/>
          <p:nvPr/>
        </p:nvSpPr>
        <p:spPr>
          <a:xfrm>
            <a:off x="6575840" y="6202777"/>
            <a:ext cx="2052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66"/>
          <p:cNvSpPr/>
          <p:nvPr/>
        </p:nvSpPr>
        <p:spPr>
          <a:xfrm>
            <a:off x="8717920" y="4563278"/>
            <a:ext cx="1692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" name="Google Shape;228;p66"/>
          <p:cNvSpPr/>
          <p:nvPr/>
        </p:nvSpPr>
        <p:spPr>
          <a:xfrm>
            <a:off x="10500000" y="4563278"/>
            <a:ext cx="1692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6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341233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Image slide layout" preserve="1">
  <p:cSld name="6_Image slide layout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67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656142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473163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14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15" name="Слайд think-cell" r:id="rId8" imgW="416" imgH="416" progId="TCLayout.ActiveDocument.1">
                  <p:embed/>
                </p:oleObj>
              </mc:Choice>
              <mc:Fallback>
                <p:oleObj name="Слайд think-cell" r:id="rId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55932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16" name="Слайд think-cell" r:id="rId9" imgW="416" imgH="416" progId="TCLayout.ActiveDocument.1">
                  <p:embed/>
                </p:oleObj>
              </mc:Choice>
              <mc:Fallback>
                <p:oleObj name="Слайд think-cell" r:id="rId9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4092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881476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42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90507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739505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966748298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74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75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70560021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3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6794551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46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10937470" y="6434622"/>
            <a:ext cx="936103" cy="323680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5" name="Прямая соединительная линия 34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6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52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62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4247" userDrawn="1">
          <p15:clr>
            <a:srgbClr val="F26B43"/>
          </p15:clr>
        </p15:guide>
        <p15:guide id="1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00347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598935"/>
            <a:ext cx="12192000" cy="1830065"/>
          </a:xfrm>
        </p:spPr>
        <p:txBody>
          <a:bodyPr>
            <a:normAutofit/>
          </a:bodyPr>
          <a:lstStyle/>
          <a:p>
            <a:r>
              <a:rPr lang="ru-RU" dirty="0"/>
              <a:t>Будь функционально грамотным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37 </a:t>
            </a:r>
            <a:r>
              <a:rPr lang="ru-RU" dirty="0"/>
              <a:t>текстов и 200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325283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УДЬ ФУНКЦИОНАЛЬНО ГРАМОТНЫМ. 37 </a:t>
            </a:r>
            <a:r>
              <a:rPr lang="ru-RU" dirty="0"/>
              <a:t>текстов и 200 задан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69751" y="557815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prstClr val="black"/>
                </a:solidFill>
              </a:rPr>
              <a:t>Код: </a:t>
            </a:r>
            <a:r>
              <a:rPr lang="ru-RU" dirty="0"/>
              <a:t>41-0682-01</a:t>
            </a:r>
            <a:r>
              <a:rPr lang="ru-RU" dirty="0" smtClean="0">
                <a:solidFill>
                  <a:prstClr val="black"/>
                </a:solidFill>
              </a:rPr>
              <a:t> </a:t>
            </a:r>
            <a:endParaRPr lang="ru-RU" dirty="0">
              <a:solidFill>
                <a:prstClr val="black"/>
              </a:solidFill>
            </a:endParaRPr>
          </a:p>
          <a:p>
            <a:r>
              <a:rPr lang="ru-RU" b="1" dirty="0">
                <a:solidFill>
                  <a:prstClr val="black"/>
                </a:solidFill>
              </a:rPr>
              <a:t>Параметры</a:t>
            </a:r>
            <a:r>
              <a:rPr lang="ru-RU" dirty="0">
                <a:solidFill>
                  <a:prstClr val="black"/>
                </a:solidFill>
              </a:rPr>
              <a:t>: </a:t>
            </a:r>
            <a:r>
              <a:rPr lang="ru-RU" dirty="0">
                <a:solidFill>
                  <a:prstClr val="black"/>
                </a:solidFill>
              </a:rPr>
              <a:t>60*90/16, </a:t>
            </a:r>
            <a:r>
              <a:rPr lang="ru-RU" dirty="0" smtClean="0">
                <a:solidFill>
                  <a:prstClr val="black"/>
                </a:solidFill>
              </a:rPr>
              <a:t>144 </a:t>
            </a:r>
            <a:r>
              <a:rPr lang="ru-RU" dirty="0">
                <a:solidFill>
                  <a:prstClr val="black"/>
                </a:solidFill>
              </a:rPr>
              <a:t>стр., </a:t>
            </a:r>
            <a:r>
              <a:rPr lang="ru-RU" dirty="0" smtClean="0">
                <a:solidFill>
                  <a:prstClr val="black"/>
                </a:solidFill>
              </a:rPr>
              <a:t>2 </a:t>
            </a:r>
            <a:r>
              <a:rPr lang="ru-RU" dirty="0" smtClean="0">
                <a:solidFill>
                  <a:prstClr val="black"/>
                </a:solidFill>
              </a:rPr>
              <a:t>краски 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751" y="1196752"/>
            <a:ext cx="2665224" cy="416441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503712" y="1172646"/>
            <a:ext cx="7776864" cy="4416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Сборник заданий по разнообразным видам функциональной грамотности, вопросов и </a:t>
            </a: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ответов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к этим заданиям.</a:t>
            </a:r>
          </a:p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 </a:t>
            </a:r>
          </a:p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Особенности заданий, представленных в сборнике:</a:t>
            </a:r>
          </a:p>
          <a:p>
            <a:r>
              <a:rPr lang="ru-RU" sz="1600" b="1" dirty="0">
                <a:latin typeface="+mn-lt"/>
                <a:cs typeface="Times New Roman" panose="02020603050405020304" pitchFamily="18" charset="0"/>
              </a:rPr>
              <a:t> </a:t>
            </a:r>
            <a:endParaRPr lang="ru-RU" sz="1600" dirty="0">
              <a:latin typeface="+mn-lt"/>
              <a:cs typeface="Times New Roman" panose="02020603050405020304" pitchFamily="18" charset="0"/>
            </a:endParaRP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Разнообразные тексты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. Газетные статьи, научные публикации, презентации, графики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инфографика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др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Актуальные тексты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.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О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коронеовирусе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Гарри Поттере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стриминговы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платформах и баскетболе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криптовалюта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и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спамера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многие другие. 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Оригинальные авторские задания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. Сформулированы так, чтобы это было интересно, полезно и не стандартно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Широкий спектр видов заданий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: от сравнительного анализа до сокращения текста, от изменения стиля статьи до составления плана действий. 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Задания на несколько видов грамотности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: к одному и ому же тексту задания направлены на развитие нескольких видов грамотности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Развернуты ответы к заданиям</a:t>
            </a:r>
            <a:endParaRPr lang="ru-RU" sz="1600" dirty="0"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180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 АВТОРЕ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2207568" y="1253574"/>
            <a:ext cx="937069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/>
              <a:t>Динаев</a:t>
            </a:r>
            <a:r>
              <a:rPr lang="ru-RU" sz="1400" b="1" dirty="0"/>
              <a:t> </a:t>
            </a:r>
            <a:r>
              <a:rPr lang="ru-RU" sz="1400" b="1" dirty="0" err="1"/>
              <a:t>Алихан</a:t>
            </a:r>
            <a:r>
              <a:rPr lang="ru-RU" sz="1400" b="1" dirty="0"/>
              <a:t> </a:t>
            </a:r>
            <a:r>
              <a:rPr lang="ru-RU" sz="1400" b="1" dirty="0" err="1" smtClean="0"/>
              <a:t>Мавладиевич</a:t>
            </a:r>
            <a:r>
              <a:rPr lang="ru-RU" sz="1400" b="1" dirty="0" smtClean="0"/>
              <a:t> </a:t>
            </a:r>
            <a:r>
              <a:rPr lang="ru-RU" sz="1400" dirty="0" smtClean="0"/>
              <a:t>– </a:t>
            </a:r>
            <a:r>
              <a:rPr lang="ru-RU" sz="1400" dirty="0"/>
              <a:t>учитель </a:t>
            </a:r>
            <a:r>
              <a:rPr lang="ru-RU" sz="1400" dirty="0" smtClean="0"/>
              <a:t>обществознания </a:t>
            </a:r>
            <a:r>
              <a:rPr lang="ru-RU" sz="1400" dirty="0"/>
              <a:t>и права, абсолютный </a:t>
            </a:r>
            <a:r>
              <a:rPr lang="ru-RU" sz="1400" dirty="0" smtClean="0"/>
              <a:t>победитель </a:t>
            </a:r>
            <a:r>
              <a:rPr lang="ru-RU" sz="1400" dirty="0"/>
              <a:t>Всероссийского конкурса «Учитель </a:t>
            </a:r>
            <a:r>
              <a:rPr lang="ru-RU" sz="1400" dirty="0" smtClean="0"/>
              <a:t>года России </a:t>
            </a:r>
            <a:r>
              <a:rPr lang="ru-RU" sz="1400" dirty="0"/>
              <a:t>2018», победитель Всероссийского</a:t>
            </a:r>
          </a:p>
          <a:p>
            <a:r>
              <a:rPr lang="ru-RU" sz="1400" dirty="0"/>
              <a:t>конкурса просветителей «Лига лекторов</a:t>
            </a:r>
            <a:r>
              <a:rPr lang="ru-RU" sz="1400" dirty="0" smtClean="0"/>
              <a:t>». Возглавляет </a:t>
            </a:r>
            <a:r>
              <a:rPr lang="ru-RU" sz="1400" dirty="0"/>
              <a:t>Педагогическую мастерскую</a:t>
            </a:r>
          </a:p>
          <a:p>
            <a:r>
              <a:rPr lang="ru-RU" sz="1400" dirty="0"/>
              <a:t>в Чеченском государственном </a:t>
            </a:r>
            <a:r>
              <a:rPr lang="ru-RU" sz="1400" dirty="0" smtClean="0"/>
              <a:t>педагогическом </a:t>
            </a:r>
            <a:r>
              <a:rPr lang="ru-RU" sz="1400" dirty="0"/>
              <a:t>университете.</a:t>
            </a:r>
            <a:endParaRPr lang="ru-RU" sz="14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336" y="1121697"/>
            <a:ext cx="1992123" cy="2975661"/>
          </a:xfrm>
          <a:prstGeom prst="rect">
            <a:avLst/>
          </a:prstGeom>
        </p:spPr>
      </p:pic>
      <p:sp>
        <p:nvSpPr>
          <p:cNvPr id="6" name="Прямоугольная выноска 5"/>
          <p:cNvSpPr/>
          <p:nvPr/>
        </p:nvSpPr>
        <p:spPr>
          <a:xfrm>
            <a:off x="2351584" y="2609526"/>
            <a:ext cx="5760640" cy="3843809"/>
          </a:xfrm>
          <a:prstGeom prst="wedgeRectCallout">
            <a:avLst>
              <a:gd name="adj1" fmla="val -63185"/>
              <a:gd name="adj2" fmla="val -65899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1"/>
            <a:r>
              <a:rPr lang="ru-RU" sz="1400" dirty="0">
                <a:solidFill>
                  <a:schemeClr val="tx1"/>
                </a:solidFill>
              </a:rPr>
              <a:t>Дорогие читатели! Искренне верю, что эта</a:t>
            </a:r>
          </a:p>
          <a:p>
            <a:r>
              <a:rPr lang="ru-RU" sz="1400" dirty="0">
                <a:solidFill>
                  <a:schemeClr val="tx1"/>
                </a:solidFill>
              </a:rPr>
              <a:t>книга будет вам интересна и полезна, поможет вам стать лучше как педагог, как профессионал, как личность. Вас ждут десятки текстов (отрывки из СМИ и романов, интервью, таблицы, </a:t>
            </a:r>
            <a:r>
              <a:rPr lang="ru-RU" sz="1400" dirty="0" err="1">
                <a:solidFill>
                  <a:schemeClr val="tx1"/>
                </a:solidFill>
              </a:rPr>
              <a:t>инфографики</a:t>
            </a:r>
            <a:r>
              <a:rPr lang="ru-RU" sz="1400" dirty="0">
                <a:solidFill>
                  <a:schemeClr val="tx1"/>
                </a:solidFill>
              </a:rPr>
              <a:t>, диаграммы и др.), сотни оригинальных авторских заданий и ответов к ним. Разнообразие текстов и типов заданий, их актуальность, яркий и нестандартный стиль изложения, подробные ответы и инструкции по созданию собственных заданий — всё это и многое другое поможет вам, дорогие учителя и студенты педвузов,</a:t>
            </a:r>
          </a:p>
          <a:p>
            <a:r>
              <a:rPr lang="ru-RU" sz="1400" dirty="0">
                <a:solidFill>
                  <a:schemeClr val="tx1"/>
                </a:solidFill>
              </a:rPr>
              <a:t>не только развить свою функциональную грамотность — читательскую, математическую, естественно-научную, финансовую, но и стать более креативным педагогом. Поехали!</a:t>
            </a:r>
          </a:p>
          <a:p>
            <a:pPr algn="ctr"/>
            <a:endParaRPr lang="ru-RU" sz="1200" dirty="0">
              <a:solidFill>
                <a:schemeClr val="bg1"/>
              </a:solidFill>
            </a:endParaRPr>
          </a:p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9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5"/>
          <a:stretch/>
        </p:blipFill>
        <p:spPr>
          <a:xfrm>
            <a:off x="334432" y="1196752"/>
            <a:ext cx="4321407" cy="53862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0" b="43949"/>
          <a:stretch/>
        </p:blipFill>
        <p:spPr>
          <a:xfrm>
            <a:off x="4223792" y="1196752"/>
            <a:ext cx="4493081" cy="345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Ы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97" y="1124744"/>
            <a:ext cx="3742140" cy="557424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38975" t="17101" r="33069" b="7301"/>
          <a:stretch/>
        </p:blipFill>
        <p:spPr>
          <a:xfrm>
            <a:off x="4179233" y="1079625"/>
            <a:ext cx="3672408" cy="558619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38975" t="18007" r="33069" b="6601"/>
          <a:stretch/>
        </p:blipFill>
        <p:spPr>
          <a:xfrm>
            <a:off x="7930637" y="1079625"/>
            <a:ext cx="3600400" cy="546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9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s Slide Master">
  <a:themeElements>
    <a:clrScheme name="mobil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282BE"/>
      </a:accent1>
      <a:accent2>
        <a:srgbClr val="28608C"/>
      </a:accent2>
      <a:accent3>
        <a:srgbClr val="262626"/>
      </a:accent3>
      <a:accent4>
        <a:srgbClr val="3282BE"/>
      </a:accent4>
      <a:accent5>
        <a:srgbClr val="28608C"/>
      </a:accent5>
      <a:accent6>
        <a:srgbClr val="262626"/>
      </a:accent6>
      <a:hlink>
        <a:srgbClr val="FFFFFF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 03 30 Презентация маркетинга_слайды ОК</Template>
  <TotalTime>114139</TotalTime>
  <Words>662</Words>
  <Application>Microsoft Office PowerPoint</Application>
  <PresentationFormat>Широкоэкранный</PresentationFormat>
  <Paragraphs>45</Paragraphs>
  <Slides>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Open Sans Light</vt:lpstr>
      <vt:lpstr>Times New Roman</vt:lpstr>
      <vt:lpstr>Wingdings</vt:lpstr>
      <vt:lpstr>Drofa</vt:lpstr>
      <vt:lpstr>Contents Slide Master</vt:lpstr>
      <vt:lpstr>Слайд think-cell</vt:lpstr>
      <vt:lpstr>Будь функционально грамотным.  37 текстов и 200 заданий</vt:lpstr>
      <vt:lpstr>БУДЬ ФУНКЦИОНАЛЬНО ГРАМОТНЫМ. 37 текстов и 200 заданий</vt:lpstr>
      <vt:lpstr>ОБ АВТОРЕ</vt:lpstr>
      <vt:lpstr>СОДЕРЖАНИЕ</vt:lpstr>
      <vt:lpstr>ПРИМЕР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Мартынова Людмила Васильевна</cp:lastModifiedBy>
  <cp:revision>2876</cp:revision>
  <cp:lastPrinted>2021-04-22T09:47:47Z</cp:lastPrinted>
  <dcterms:created xsi:type="dcterms:W3CDTF">2011-07-04T10:53:52Z</dcterms:created>
  <dcterms:modified xsi:type="dcterms:W3CDTF">2023-03-13T14:44:50Z</dcterms:modified>
</cp:coreProperties>
</file>